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63" r:id="rId2"/>
  </p:sldMasterIdLst>
  <p:notesMasterIdLst>
    <p:notesMasterId r:id="rId20"/>
  </p:notesMasterIdLst>
  <p:handoutMasterIdLst>
    <p:handoutMasterId r:id="rId21"/>
  </p:handoutMasterIdLst>
  <p:sldIdLst>
    <p:sldId id="444" r:id="rId3"/>
    <p:sldId id="400" r:id="rId4"/>
    <p:sldId id="496" r:id="rId5"/>
    <p:sldId id="477" r:id="rId6"/>
    <p:sldId id="491" r:id="rId7"/>
    <p:sldId id="498" r:id="rId8"/>
    <p:sldId id="425" r:id="rId9"/>
    <p:sldId id="503" r:id="rId10"/>
    <p:sldId id="539" r:id="rId11"/>
    <p:sldId id="504" r:id="rId12"/>
    <p:sldId id="542" r:id="rId13"/>
    <p:sldId id="505" r:id="rId14"/>
    <p:sldId id="543" r:id="rId15"/>
    <p:sldId id="506" r:id="rId16"/>
    <p:sldId id="448" r:id="rId17"/>
    <p:sldId id="489" r:id="rId18"/>
    <p:sldId id="473" r:id="rId19"/>
  </p:sldIdLst>
  <p:sldSz cx="9144000" cy="6858000" type="screen4x3"/>
  <p:notesSz cx="6797675" cy="992822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71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90" userDrawn="1">
          <p15:clr>
            <a:srgbClr val="A4A3A4"/>
          </p15:clr>
        </p15:guide>
        <p15:guide id="17" pos="2857" userDrawn="1">
          <p15:clr>
            <a:srgbClr val="A4A3A4"/>
          </p15:clr>
        </p15:guide>
        <p15:guide id="18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96" userDrawn="1">
          <p15:clr>
            <a:srgbClr val="A4A3A4"/>
          </p15:clr>
        </p15:guide>
        <p15:guide id="2" pos="2274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DL" initials="MK" lastIdx="1" clrIdx="0">
    <p:extLst>
      <p:ext uri="{19B8F6BF-5375-455C-9EA6-DF929625EA0E}">
        <p15:presenceInfo xmlns:p15="http://schemas.microsoft.com/office/powerpoint/2012/main" userId="ADD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A2E"/>
    <a:srgbClr val="000000"/>
    <a:srgbClr val="FFCD00"/>
    <a:srgbClr val="ED8B00"/>
    <a:srgbClr val="DB291C"/>
    <a:srgbClr val="FF9900"/>
    <a:srgbClr val="C00000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77" autoAdjust="0"/>
    <p:restoredTop sz="94984" autoAdjust="0"/>
  </p:normalViewPr>
  <p:slideViewPr>
    <p:cSldViewPr snapToGrid="0" showGuides="1">
      <p:cViewPr varScale="1">
        <p:scale>
          <a:sx n="96" d="100"/>
          <a:sy n="96" d="100"/>
        </p:scale>
        <p:origin x="3332" y="56"/>
      </p:cViewPr>
      <p:guideLst>
        <p:guide pos="226"/>
        <p:guide pos="5511"/>
        <p:guide orient="horz" pos="1071"/>
        <p:guide orient="horz" pos="4020"/>
        <p:guide orient="horz" pos="187"/>
        <p:guide orient="horz" pos="890"/>
        <p:guide pos="2857"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1" d="100"/>
          <a:sy n="51" d="100"/>
        </p:scale>
        <p:origin x="2976" y="102"/>
      </p:cViewPr>
      <p:guideLst>
        <p:guide orient="horz" pos="2996"/>
        <p:guide pos="2274"/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3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1/1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30816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30816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1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395" tIns="48696" rIns="97395" bIns="4869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1"/>
          </a:xfrm>
          <a:prstGeom prst="rect">
            <a:avLst/>
          </a:prstGeom>
        </p:spPr>
        <p:txBody>
          <a:bodyPr vert="horz" lIns="97395" tIns="48696" rIns="97395" bIns="486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3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3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0211585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52958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object 2"/>
          <p:cNvSpPr/>
          <p:nvPr userDrawn="1"/>
        </p:nvSpPr>
        <p:spPr>
          <a:xfrm>
            <a:off x="376238" y="343311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4055015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09987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579874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830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3E2828-9C0B-495B-894F-E81B4199F10A}" type="datetimeFigureOut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01.11.2023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38FACA8-0D71-4F67-ACD0-E4BA8155183A}" type="slidenum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714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997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34296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10198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250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604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028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37608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99574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9670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7775606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57449152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3114765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93228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3434743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973567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01770928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97569440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11341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52669652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93517403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87328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endParaRPr lang="cs-CZ" noProof="0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46717319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7" b="29289"/>
          <a:stretch/>
        </p:blipFill>
        <p:spPr>
          <a:xfrm>
            <a:off x="370800" y="3123758"/>
            <a:ext cx="172277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3299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937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err="1">
                <a:solidFill>
                  <a:schemeClr val="tx1"/>
                </a:solidFill>
              </a:rPr>
              <a:t>Akvizice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  <a:r>
              <a:rPr lang="en-US" sz="650" noProof="0" dirty="0" err="1">
                <a:solidFill>
                  <a:schemeClr val="tx1"/>
                </a:solidFill>
              </a:rPr>
              <a:t>společností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© 201</a:t>
            </a:r>
            <a:r>
              <a:rPr lang="cs-CZ" sz="650" noProof="0" dirty="0">
                <a:solidFill>
                  <a:schemeClr val="tx1"/>
                </a:solidFill>
              </a:rPr>
              <a:t>9</a:t>
            </a:r>
            <a:r>
              <a:rPr lang="en-US" sz="650" noProof="0" dirty="0">
                <a:solidFill>
                  <a:schemeClr val="tx1"/>
                </a:solidFill>
              </a:rPr>
              <a:t> Deloitte Legal s.r.o., </a:t>
            </a:r>
            <a:r>
              <a:rPr lang="en-US" sz="650" noProof="0" dirty="0" err="1">
                <a:solidFill>
                  <a:schemeClr val="tx1"/>
                </a:solidFill>
              </a:rPr>
              <a:t>advokátní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  <a:r>
              <a:rPr lang="en-US" sz="650" noProof="0" dirty="0" err="1">
                <a:solidFill>
                  <a:schemeClr val="tx1"/>
                </a:solidFill>
              </a:rPr>
              <a:t>kancelář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03" r:id="rId4"/>
    <p:sldLayoutId id="2147483705" r:id="rId5"/>
    <p:sldLayoutId id="2147483707" r:id="rId6"/>
    <p:sldLayoutId id="2147483713" r:id="rId7"/>
    <p:sldLayoutId id="2147483754" r:id="rId8"/>
    <p:sldLayoutId id="2147483753" r:id="rId9"/>
    <p:sldLayoutId id="2147483678" r:id="rId10"/>
    <p:sldLayoutId id="2147483681" r:id="rId11"/>
    <p:sldLayoutId id="2147483735" r:id="rId12"/>
    <p:sldLayoutId id="2147483697" r:id="rId13"/>
    <p:sldLayoutId id="2147483715" r:id="rId14"/>
    <p:sldLayoutId id="2147483695" r:id="rId15"/>
    <p:sldLayoutId id="2147483725" r:id="rId16"/>
    <p:sldLayoutId id="2147483760" r:id="rId17"/>
    <p:sldLayoutId id="2147483762" r:id="rId18"/>
    <p:sldLayoutId id="2147483721" r:id="rId19"/>
    <p:sldLayoutId id="2147483758" r:id="rId20"/>
    <p:sldLayoutId id="2147483759" r:id="rId21"/>
    <p:sldLayoutId id="2147483761" r:id="rId22"/>
    <p:sldLayoutId id="2147483757" r:id="rId23"/>
    <p:sldLayoutId id="2147483788" r:id="rId2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04700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Presentation title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© 201</a:t>
            </a:r>
            <a:r>
              <a:rPr lang="cs-CZ" sz="650" noProof="0" dirty="0">
                <a:solidFill>
                  <a:schemeClr val="tx1"/>
                </a:solidFill>
              </a:rPr>
              <a:t>8</a:t>
            </a:r>
            <a:r>
              <a:rPr lang="en-US" sz="650" noProof="0" dirty="0">
                <a:solidFill>
                  <a:schemeClr val="tx1"/>
                </a:solidFill>
              </a:rPr>
              <a:t> Deloitte </a:t>
            </a:r>
            <a:r>
              <a:rPr lang="cs-CZ" sz="650" noProof="0" dirty="0">
                <a:solidFill>
                  <a:schemeClr val="tx1"/>
                </a:solidFill>
              </a:rPr>
              <a:t>Česká</a:t>
            </a:r>
            <a:r>
              <a:rPr lang="cs-CZ" sz="650" baseline="0" noProof="0" dirty="0">
                <a:solidFill>
                  <a:schemeClr val="tx1"/>
                </a:solidFill>
              </a:rPr>
              <a:t> republika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935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ivan@telecky.legal" TargetMode="External"/><Relationship Id="rId2" Type="http://schemas.openxmlformats.org/officeDocument/2006/relationships/hyperlink" Target="mailto:psuchy@deloitteCE.com" TargetMode="Externa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7AA4043E-8583-583D-08A3-50F859EA00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eminář 3 (</a:t>
            </a:r>
            <a:r>
              <a:rPr lang="cs-CZ" dirty="0" err="1"/>
              <a:t>Due</a:t>
            </a:r>
            <a:r>
              <a:rPr lang="cs-CZ" dirty="0"/>
              <a:t> diligence – 2. část)</a:t>
            </a:r>
          </a:p>
          <a:p>
            <a:r>
              <a:rPr lang="cs-CZ" dirty="0"/>
              <a:t>1.11.2023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DB070063-3098-81CD-2036-326C003B7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Fúze a akvizice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531EF70-BA73-4DE5-FEE5-6FFFEC9E65C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738" y="1519707"/>
            <a:ext cx="7094231" cy="4729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758000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Finanční vztah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/>
        </p:nvGraphicFramePr>
        <p:xfrm>
          <a:off x="376238" y="1408855"/>
          <a:ext cx="8371762" cy="22495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8930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FINANČNÍ OBLAST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Smlouvy o výpůjčce, smlouvy o úvěru a obdobné instrumenty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Listiny a informace o zajištění závazků Společnosti nebo o zajištění závazků jiných osob Společností nebo jejím majetkem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a listiny vztahující se k finančním instrumentům nebi obchodům Společnosti na kapitálových trzích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Listiny a informace o dalších finančních ujednáních nebo nástrojích, zejm. akreditivech, vlastních avalovaných či indosovaných směnkách, dluhopisech, hedgingových smlouvách, bankovních zárukách, ujednáních o derivátech, apod.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s bankami či jinými bankovními institucemi vč. běžných účtů, platebních karet a šeků, jiných bankovních produktů, a informace o dispozičních právech k nim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Pojistné smlouvy k majetku Společnosti či pojistným rizikům souvisejícím s její činností (zejm. odpovědnost za škodu, pojištění motorových vozidel, apod.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222066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acovněprávní obla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D </a:t>
            </a:r>
            <a:r>
              <a:rPr lang="cs-CZ" dirty="0" err="1"/>
              <a:t>checklist</a:t>
            </a:r>
            <a:endParaRPr lang="cs-CZ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292568" y="2128129"/>
          <a:ext cx="6229350" cy="23807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65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809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18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0810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PRACOVNĚPRÁVNÍ OBLAST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Vzorové pracovní smlouvy, dohody o pracovní činnosti, dohody o provedení práce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3132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Jiné vzorové pracovněprávní dokumenty (mzdový výměr, dohoda o změně pracovního poměru, dohoda o rozvázání pracovního poměru, výpověď, apod.)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132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Jednotlivé pracovní smlouvy s vrcholovými manažery Společnosti (vedoucími zaměstnanci přímo podřízenými statutárnímu orgánu Společnosti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81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Vnitřní předpisy, řády a směrnice pro zaměstnance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3132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Kolektivní smlouva, informace a dokumenty o působení zástupců zaměstnanců (odborová organizace, rada zaměstnanců nebo zástupce pro oblast bezpečnosti a ochrany zdraví při práci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081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Evidence pracovní doby a práce přesčas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014059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porná agend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/>
        </p:nvGraphicFramePr>
        <p:xfrm>
          <a:off x="376238" y="1408855"/>
          <a:ext cx="8371761" cy="10559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2698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SPORNÁ AGENDA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697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Seznam vedených a hrozících soudních nebo rozhodčích sporů s uvedení podstaty věci a její hodnoty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0788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Dokumentace k vedeným či hrozícím soudním a rozhodčím řízením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788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Informace o případném insolvenčním a exekučním řízení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869159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porná agend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- Přehled sporné agendy</a:t>
            </a:r>
          </a:p>
        </p:txBody>
      </p:sp>
    </p:spTree>
    <p:extLst>
      <p:ext uri="{BB962C8B-B14F-4D97-AF65-F5344CB8AC3E}">
        <p14:creationId xmlns:p14="http://schemas.microsoft.com/office/powerpoint/2010/main" val="306288841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právní oblast a správní řízen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76238" y="1385127"/>
          <a:ext cx="8371761" cy="206917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1836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SPRÁVNÍ OBLAST A SPRÁVNÍ ŘÍZENÍ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Živnostenská nebo jiná oprávnění k vykonávání činnosti včetně seznamu provozoven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Veškerá ostatní povolení, registrace, oprávnění, souhlasy nebo licence Společnosti nebo potřebné pro její činnost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Dokumentace o vedených správních řízeních i) neskončených, ii) skončených a nevykonaných, zejm. v oblastech životního prostředí, hospodářské soutěže, ochrany spotřebitele, ochrany osobních údajů, atd., vyjma řízení před správcem daně, správou sociálního zabezpečení a zdravotními pojišťovnam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eznam skončených správních řízení včetně uvedení výsledku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Veřejnoprávní smlouvy (vztahujících se k plnění veřejnoprávních povinností a/nebo uzavřené se subjektem veřejného práva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Informace a přepisy Společnosti týkající se nakládání s osobními údaji a zajištění jejich ochrany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Informace a dokumenty k přijaté veřejné podpoře, zejm. grantům, pobídkám, dotacím, apod.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795548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4523552-93F2-F0CB-04A3-BCA5DD87EA8C}"/>
              </a:ext>
            </a:extLst>
          </p:cNvPr>
          <p:cNvSpPr txBox="1">
            <a:spLocks/>
          </p:cNvSpPr>
          <p:nvPr/>
        </p:nvSpPr>
        <p:spPr bwMode="gray">
          <a:xfrm>
            <a:off x="528638" y="1858069"/>
            <a:ext cx="7905750" cy="1592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/>
              <a:t>Zadání samostatné domácí prá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094422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000" b="1" dirty="0"/>
              <a:t>Zadání samostatné prác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1" indent="-285750"/>
            <a:r>
              <a:rPr lang="cs-CZ" sz="1600" dirty="0"/>
              <a:t>Úkol č. 3: </a:t>
            </a:r>
          </a:p>
          <a:p>
            <a:pPr marL="228600"/>
            <a:r>
              <a:rPr lang="cs-CZ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epište úvahu na téma, jak byste v kupní smlouvě (SPA) ošetřili rizika na zjištění v rámci </a:t>
            </a:r>
            <a:r>
              <a:rPr lang="cs-CZ" sz="18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ue</a:t>
            </a:r>
            <a:r>
              <a:rPr lang="cs-CZ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Diligence (vyberte si alespoň tři z nabízených rizik).</a:t>
            </a:r>
          </a:p>
          <a:p>
            <a:pPr marL="228600"/>
            <a: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ailní zadání samostatné práce je v samostatném dokumentu.</a:t>
            </a:r>
          </a:p>
          <a:p>
            <a:pPr lvl="0"/>
            <a:r>
              <a:rPr lang="cs-CZ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cs-CZ" sz="1600" dirty="0"/>
              <a:t>rozsah: cca 2 normostrany</a:t>
            </a:r>
          </a:p>
          <a:p>
            <a:pPr marL="357188" lvl="1" indent="-357188"/>
            <a:r>
              <a:rPr lang="cs-CZ" sz="1600" dirty="0"/>
              <a:t>termín odevzdání: nejpozději </a:t>
            </a:r>
            <a:r>
              <a:rPr lang="cs-CZ" sz="1600" b="1" u="sng" dirty="0"/>
              <a:t>v pátek večer před následujícím seminářem</a:t>
            </a:r>
            <a:r>
              <a:rPr lang="cs-CZ" sz="1600" b="1" dirty="0">
                <a:solidFill>
                  <a:srgbClr val="86BC25"/>
                </a:solidFill>
              </a:rPr>
              <a:t> </a:t>
            </a:r>
            <a:r>
              <a:rPr lang="cs-CZ" sz="1600" dirty="0"/>
              <a:t>zaslat vypracovaný úkol emailem </a:t>
            </a:r>
            <a:r>
              <a:rPr lang="cs-CZ" sz="1800" dirty="0"/>
              <a:t>(</a:t>
            </a:r>
            <a:r>
              <a:rPr lang="cs-CZ" sz="1600" dirty="0"/>
              <a:t>PŘEDMĚT emailu: Volitelný předmět Fúze a akvizice, TO: </a:t>
            </a:r>
            <a:r>
              <a:rPr lang="cs-CZ" sz="1600" dirty="0">
                <a:hlinkClick r:id="rId2"/>
              </a:rPr>
              <a:t>psuchy@deloitteCE.com</a:t>
            </a:r>
            <a:r>
              <a:rPr lang="cs-CZ" sz="1600" dirty="0"/>
              <a:t>; </a:t>
            </a:r>
            <a:r>
              <a:rPr lang="cs-CZ" sz="1600" dirty="0" err="1">
                <a:hlinkClick r:id="rId3"/>
              </a:rPr>
              <a:t>ivan@telecky.legal</a:t>
            </a:r>
            <a:r>
              <a:rPr lang="cs-CZ" sz="1800" dirty="0"/>
              <a:t>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74286-9D9E-4105-93C3-4FB4A8D0D1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446843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2054733"/>
          </a:xfrm>
        </p:spPr>
        <p:txBody>
          <a:bodyPr/>
          <a:lstStyle/>
          <a:p>
            <a:pPr algn="ctr"/>
            <a:r>
              <a:rPr lang="cs-CZ" sz="4800" dirty="0"/>
              <a:t>Děkujeme za pozornost.</a:t>
            </a:r>
          </a:p>
        </p:txBody>
      </p:sp>
    </p:spTree>
    <p:extLst>
      <p:ext uri="{BB962C8B-B14F-4D97-AF65-F5344CB8AC3E}">
        <p14:creationId xmlns:p14="http://schemas.microsoft.com/office/powerpoint/2010/main" val="2255567566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O</a:t>
            </a:r>
            <a:r>
              <a:rPr lang="cs-CZ" sz="2400" b="1" dirty="0" err="1"/>
              <a:t>snova</a:t>
            </a:r>
            <a:r>
              <a:rPr lang="cs-CZ" sz="2400" b="1" dirty="0"/>
              <a:t> seminář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28600" lvl="1" indent="-228600">
              <a:buFont typeface="+mj-lt"/>
              <a:buAutoNum type="arabicPeriod"/>
            </a:pPr>
            <a:r>
              <a:rPr lang="cs-CZ" sz="1600" b="1" dirty="0"/>
              <a:t>Shrnutí </a:t>
            </a:r>
            <a:r>
              <a:rPr lang="en-US" sz="1600" b="1" dirty="0"/>
              <a:t>p</a:t>
            </a:r>
            <a:r>
              <a:rPr lang="cs-CZ" sz="1600" b="1" dirty="0" err="1"/>
              <a:t>ředchozího</a:t>
            </a:r>
            <a:r>
              <a:rPr lang="cs-CZ" sz="1600" b="1" dirty="0"/>
              <a:t> semináře</a:t>
            </a:r>
          </a:p>
          <a:p>
            <a:pPr marL="228600" lvl="1" indent="-228600">
              <a:buFont typeface="+mj-lt"/>
              <a:buAutoNum type="arabicPeriod"/>
            </a:pPr>
            <a:r>
              <a:rPr lang="cs-CZ" sz="1600" b="1"/>
              <a:t>Due</a:t>
            </a:r>
            <a:r>
              <a:rPr lang="cs-CZ" sz="1600" b="1" dirty="0"/>
              <a:t> Diligence (2. část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cs-CZ" sz="1600" dirty="0"/>
              <a:t>Vysvětlení jednotlivých položek </a:t>
            </a:r>
            <a:r>
              <a:rPr lang="cs-CZ" sz="1600" dirty="0" err="1"/>
              <a:t>checklistu</a:t>
            </a:r>
            <a:endParaRPr lang="en-US" sz="16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cs-CZ" sz="1600" dirty="0"/>
              <a:t>Cvičení pro studenty v jednotlivých kategoriích DD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cs-CZ" sz="1600" dirty="0"/>
              <a:t>Zadání samostatné práce</a:t>
            </a:r>
          </a:p>
        </p:txBody>
      </p:sp>
    </p:spTree>
    <p:extLst>
      <p:ext uri="{BB962C8B-B14F-4D97-AF65-F5344CB8AC3E}">
        <p14:creationId xmlns:p14="http://schemas.microsoft.com/office/powerpoint/2010/main" val="130579424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Korporátní oblas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/>
        </p:nvGraphicFramePr>
        <p:xfrm>
          <a:off x="376238" y="1222866"/>
          <a:ext cx="8246513" cy="49693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1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557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90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5162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800" kern="0" dirty="0">
                          <a:effectLst/>
                        </a:rPr>
                        <a:t> </a:t>
                      </a:r>
                      <a:endParaRPr lang="cs-CZ" sz="7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kern="0">
                          <a:effectLst/>
                        </a:rPr>
                        <a:t>KORPORÁTNÍ OBLAST</a:t>
                      </a:r>
                      <a:endParaRPr lang="cs-CZ" sz="7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kern="0">
                          <a:effectLst/>
                        </a:rPr>
                        <a:t> </a:t>
                      </a:r>
                      <a:endParaRPr lang="cs-CZ" sz="7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výpis z obchodního rejstříku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</a:tabLst>
                      </a:pPr>
                      <a:r>
                        <a:rPr lang="cs-CZ" sz="800" dirty="0">
                          <a:effectLst/>
                        </a:rPr>
                        <a:t>Společenská smlouva (zakladatelská listina) o založení Společnosti a její pozdější změny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úplné znění společenské smlouvy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tanovy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seznam společníků/akcionářů popř. výpis z evidence cenných papírů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Zápisy z řádných a mimořádných valných hromad od vzniku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Zápisy z jednání orgánů Společnosti (jednatelů, představenstva, dozorčí rady, atd.)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Jednací a hlasovací řády orgánů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mlouvy s orgány/členy orgánů Společnosti (např. smlouvy o výkonu funkce)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Informace a dokumenty k vedeným neskončeným rejstříkovým řízením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Podání do sbírky listin obchodního rejstříku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Platné plné moci k zastupování Společnosti včetně případné prokury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Informace o propojených osobách, včetně schéma koncernu, a zprávy o vztazích mezi nimi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519818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mlouvy mezi Společností a i) jejími společníky, ii) propojenými/koncernovými osobami, zejména ovládací smlouva, smlouva o převodu zisku, smlouvy o převodech majetku, smlouvy o půjčce/úvěru, zajištění závazků, apod.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89863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Smlouvy mezi společníky Společnosti navzájem ohledně jejich obchodních podílů/účasti ve Společnosti či výkonu souvisejících práv (např. dohody o výkonu hlasovacích práv)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039636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Veškeré dokumenty o dispozicích s obchodními podíly ve Společnosti – rozdělení, převody, zastavení obchodních podílů Společnosti či zřízení jakýchkoliv práv k nim (souhlasy s rozdělením a převody obchodních podílů, pokud se vyžadují; smlouvy o převodech obchodních podílů; potvrzení o doručení smluv Společnosti); dědění obchodních podílů (veškerá dokumentace k dědění obchodního podílu, pravomocná rozhodnutí příslušného soudu o nabytí dědictví k obchodnímu podílu, apod.).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Informace o případných organizačních složkách/odštěpných závodech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 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547349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1705669"/>
            <a:ext cx="8372475" cy="1592403"/>
          </a:xfrm>
        </p:spPr>
        <p:txBody>
          <a:bodyPr/>
          <a:lstStyle/>
          <a:p>
            <a:pPr algn="ctr"/>
            <a:r>
              <a:rPr lang="cs-CZ" sz="4800" dirty="0" err="1"/>
              <a:t>Due</a:t>
            </a:r>
            <a:r>
              <a:rPr lang="cs-CZ" sz="4800" dirty="0"/>
              <a:t> Diligence (2. část)</a:t>
            </a:r>
          </a:p>
        </p:txBody>
      </p:sp>
    </p:spTree>
    <p:extLst>
      <p:ext uri="{BB962C8B-B14F-4D97-AF65-F5344CB8AC3E}">
        <p14:creationId xmlns:p14="http://schemas.microsoft.com/office/powerpoint/2010/main" val="153189826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Celkový přehled právní 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sz="1600" b="1" dirty="0"/>
              <a:t>Korporátní oblast</a:t>
            </a:r>
          </a:p>
          <a:p>
            <a:pPr marL="285750" indent="-285750">
              <a:buFontTx/>
              <a:buChar char="-"/>
            </a:pPr>
            <a:r>
              <a:rPr lang="cs-CZ" sz="1600" b="1" dirty="0"/>
              <a:t>Majetek</a:t>
            </a:r>
          </a:p>
          <a:p>
            <a:pPr marL="285750" indent="-285750">
              <a:buFontTx/>
              <a:buChar char="-"/>
            </a:pPr>
            <a:r>
              <a:rPr lang="cs-CZ" sz="1600" dirty="0">
                <a:solidFill>
                  <a:srgbClr val="FF0000"/>
                </a:solidFill>
              </a:rPr>
              <a:t>Závazkové vztahy</a:t>
            </a:r>
          </a:p>
          <a:p>
            <a:pPr marL="285750" indent="-285750">
              <a:buFontTx/>
              <a:buChar char="-"/>
            </a:pPr>
            <a:r>
              <a:rPr lang="cs-CZ" sz="1600" dirty="0">
                <a:solidFill>
                  <a:srgbClr val="FF0000"/>
                </a:solidFill>
              </a:rPr>
              <a:t>Finanční oblast</a:t>
            </a:r>
          </a:p>
          <a:p>
            <a:pPr marL="285750" indent="-285750">
              <a:buFontTx/>
              <a:buChar char="-"/>
            </a:pPr>
            <a:r>
              <a:rPr lang="cs-CZ" sz="1600" dirty="0">
                <a:solidFill>
                  <a:srgbClr val="FF0000"/>
                </a:solidFill>
              </a:rPr>
              <a:t>Pracovněprávní oblast</a:t>
            </a:r>
          </a:p>
          <a:p>
            <a:pPr marL="285750" indent="-285750">
              <a:buFontTx/>
              <a:buChar char="-"/>
            </a:pPr>
            <a:r>
              <a:rPr lang="cs-CZ" sz="1600" dirty="0">
                <a:solidFill>
                  <a:srgbClr val="FF0000"/>
                </a:solidFill>
              </a:rPr>
              <a:t>Sporná agenda</a:t>
            </a:r>
          </a:p>
          <a:p>
            <a:pPr marL="285750" indent="-285750">
              <a:buFontTx/>
              <a:buChar char="-"/>
            </a:pPr>
            <a:r>
              <a:rPr lang="cs-CZ" sz="1600" dirty="0">
                <a:solidFill>
                  <a:srgbClr val="FF0000"/>
                </a:solidFill>
              </a:rPr>
              <a:t>Správní oblast a správní řízení</a:t>
            </a:r>
          </a:p>
          <a:p>
            <a:endParaRPr lang="en-US" dirty="0"/>
          </a:p>
        </p:txBody>
      </p:sp>
      <p:pic>
        <p:nvPicPr>
          <p:cNvPr id="33794" name="Picture 2" descr="Image result for checklis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630" y="1531937"/>
            <a:ext cx="4158620" cy="3563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593712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Majete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/>
        </p:nvGraphicFramePr>
        <p:xfrm>
          <a:off x="376239" y="1408855"/>
          <a:ext cx="8371761" cy="31144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6588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MAJETEK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Dokumenty prokazující nabývací tituly (např. kupní, darovací a jiné nabývací smlouvy) Společnosti k jejímu majetku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Výpisy z veřejných majetkových registrů (katastr nemovitostí, evidence cenných papírů, další)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Nájemní, leasingové a obdobné smlouvy k majetku užívanému Společností, včetně dokumentů prokazujících vlastnické právo pronajímatele / vlastníka odlišného od Společnosti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tavební/územní rozhodnutí, kolaudační rozhodnutí k provozovnám a jiným objektům užívaným Společnost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Informace a dokumenty k zástavním právům, věcným břemenům nebo jiným právům třetích osob váznoucím na majetku Společnosti, anebo takovým právům k majetku třetích osob smluveným ve prospěch Společnost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Osvědčení, výpis z rejstříku, a jiné dokumenty osvědčující práva Společnosti k předmětům duševního a průmyslového vlastnictví (ochranné známky, patenty, průmyslové vzory, apod.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Licenční a obdobné smlouvy k předmětům duševního a průmyslového vlastnictví (vč. software) potřebného pro podnikání Společnosti, nebo jejichž je Společnost stranou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Certifikáty a další dokumentace k internetovým doménám užívaným Společnost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Dokumenty k vedeným řízením v oblasti duševního a průmyslového vlastnictví (zejm. přihlášky ochranných známek, spory, apod.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dirty="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489766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Majetek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	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Nájemní smlouva</a:t>
            </a:r>
          </a:p>
          <a:p>
            <a:pPr marL="285750" indent="-285750">
              <a:buFontTx/>
              <a:buChar char="-"/>
            </a:pPr>
            <a:r>
              <a:rPr lang="cs-CZ" dirty="0"/>
              <a:t>Licenční smlouva</a:t>
            </a:r>
          </a:p>
        </p:txBody>
      </p:sp>
    </p:spTree>
    <p:extLst>
      <p:ext uri="{BB962C8B-B14F-4D97-AF65-F5344CB8AC3E}">
        <p14:creationId xmlns:p14="http://schemas.microsoft.com/office/powerpoint/2010/main" val="30851120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ávazkové vztah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/>
        </p:nvGraphicFramePr>
        <p:xfrm>
          <a:off x="376236" y="1466082"/>
          <a:ext cx="8371764" cy="24477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4761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ZÁVAZKOVÉ VZTAHY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Všeobecné obchodní podmínky, vzorové smlouvy a typizovaná smluvní ujednání či jiné dokumenty (např. výpovědi, zápisy, jiná oznámení, atd.) užívané v obchodních vztazích s odběrateli či dodavateli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s odběrateli či dodavateli obsahující odchylná ujednání od všeobecných obchodních podmínek 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oupis / či jiná evidence obchodních smluv s odběrateli či dodavateli s uvedením hodnoty plněn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Smlouvy nespadající do běžného obchodní, např. pořízení či dispozice s dlouhodobým majetkem, zprostředkovatelské smlouvy, smlouvy o obchodním zastoupení, mandátní či komisionářské smlouvy, </a:t>
                      </a:r>
                      <a:r>
                        <a:rPr lang="cs-CZ" sz="1100" dirty="0" err="1">
                          <a:effectLst/>
                        </a:rPr>
                        <a:t>franšízingové</a:t>
                      </a:r>
                      <a:r>
                        <a:rPr lang="cs-CZ" sz="1100" dirty="0">
                          <a:effectLst/>
                        </a:rPr>
                        <a:t> smlouvy, smlouvy o skladování, smlouvy o přepravě, apod.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obsahující ustanovení o změně efektivního vedení („change of control clause“) – které bude účinné, pokud se změní vedení nebo společníci Společnost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Informace o případném prodlení či jiném porušení závazků ze strany Společnost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o sdružení, společném podnikání (“joint-venture”), smlouvy o tichém spoleenství, dohody o mlčenlivosti a další podobná nerutinní ujednán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053171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ávazkové vztah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Rámcová kupní smlouva</a:t>
            </a:r>
          </a:p>
        </p:txBody>
      </p:sp>
    </p:spTree>
    <p:extLst>
      <p:ext uri="{BB962C8B-B14F-4D97-AF65-F5344CB8AC3E}">
        <p14:creationId xmlns:p14="http://schemas.microsoft.com/office/powerpoint/2010/main" val="253197978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0AA4BC62-99D9-41A7-83C6-C1E85292AB3B}"/>
    </a:ext>
  </a:extLst>
</a:theme>
</file>

<file path=ppt/theme/theme2.xml><?xml version="1.0" encoding="utf-8"?>
<a:theme xmlns:a="http://schemas.openxmlformats.org/drawingml/2006/main" name="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5C7CFA47-F22C-4205-8B3D-DE0FD253233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570</TotalTime>
  <Words>1366</Words>
  <Application>Microsoft Office PowerPoint</Application>
  <PresentationFormat>Předvádění na obrazovce (4:3)</PresentationFormat>
  <Paragraphs>237</Paragraphs>
  <Slides>17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7</vt:i4>
      </vt:variant>
    </vt:vector>
  </HeadingPairs>
  <TitlesOfParts>
    <vt:vector size="24" baseType="lpstr">
      <vt:lpstr>Arial</vt:lpstr>
      <vt:lpstr>Calibri</vt:lpstr>
      <vt:lpstr>Helvetica 45 Light</vt:lpstr>
      <vt:lpstr>Verdana</vt:lpstr>
      <vt:lpstr>Deloitte Presentation Template 2016 ENG</vt:lpstr>
      <vt:lpstr>Deloitte Presentation Template 2016 CZE</vt:lpstr>
      <vt:lpstr>think-cell Slide</vt:lpstr>
      <vt:lpstr>Fúze a akvizice </vt:lpstr>
      <vt:lpstr>Osnova semináře</vt:lpstr>
      <vt:lpstr>Due Diligence Checklist</vt:lpstr>
      <vt:lpstr>Due Diligence (2. část)</vt:lpstr>
      <vt:lpstr>Due Diligence Checklist</vt:lpstr>
      <vt:lpstr>Due Diligence Checklist</vt:lpstr>
      <vt:lpstr>Due Diligence </vt:lpstr>
      <vt:lpstr>Due Diligence Checklist</vt:lpstr>
      <vt:lpstr>Due Diligence</vt:lpstr>
      <vt:lpstr>Due Diligence Checklist</vt:lpstr>
      <vt:lpstr>DD checklist</vt:lpstr>
      <vt:lpstr>Due Diligence Checklist</vt:lpstr>
      <vt:lpstr>Due Diligence</vt:lpstr>
      <vt:lpstr>Due Diligence Checklist</vt:lpstr>
      <vt:lpstr>Prezentace aplikace PowerPoint</vt:lpstr>
      <vt:lpstr>Zadání samostatné práce</vt:lpstr>
      <vt:lpstr>Děkujeme za pozornost.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jkova, Barbora (CZ - Prague)</dc:creator>
  <cp:lastModifiedBy>Ivan Telecky</cp:lastModifiedBy>
  <cp:revision>115</cp:revision>
  <cp:lastPrinted>2022-10-19T07:29:57Z</cp:lastPrinted>
  <dcterms:created xsi:type="dcterms:W3CDTF">2016-09-26T14:53:58Z</dcterms:created>
  <dcterms:modified xsi:type="dcterms:W3CDTF">2023-11-01T10:56:39Z</dcterms:modified>
</cp:coreProperties>
</file>